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7" r:id="rId1"/>
    <p:sldMasterId id="2147483837" r:id="rId2"/>
    <p:sldMasterId id="2147483839" r:id="rId3"/>
    <p:sldMasterId id="2147483842" r:id="rId4"/>
  </p:sldMasterIdLst>
  <p:notesMasterIdLst>
    <p:notesMasterId r:id="rId14"/>
  </p:notesMasterIdLst>
  <p:handoutMasterIdLst>
    <p:handoutMasterId r:id="rId15"/>
  </p:handoutMasterIdLst>
  <p:sldIdLst>
    <p:sldId id="702" r:id="rId5"/>
    <p:sldId id="706" r:id="rId6"/>
    <p:sldId id="683" r:id="rId7"/>
    <p:sldId id="686" r:id="rId8"/>
    <p:sldId id="703" r:id="rId9"/>
    <p:sldId id="704" r:id="rId10"/>
    <p:sldId id="705" r:id="rId11"/>
    <p:sldId id="707" r:id="rId12"/>
    <p:sldId id="708" r:id="rId13"/>
  </p:sldIdLst>
  <p:sldSz cx="12192000" cy="6858000"/>
  <p:notesSz cx="6797675" cy="9872663"/>
  <p:custDataLst>
    <p:tags r:id="rId16"/>
  </p:custDataLst>
  <p:defaultTextStyle>
    <a:defPPr>
      <a:defRPr lang="it-I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2" orient="horz" pos="4088" userDrawn="1">
          <p15:clr>
            <a:srgbClr val="A4A3A4"/>
          </p15:clr>
        </p15:guide>
        <p15:guide id="3" pos="2593" userDrawn="1">
          <p15:clr>
            <a:srgbClr val="A4A3A4"/>
          </p15:clr>
        </p15:guide>
        <p15:guide id="4" pos="211" userDrawn="1">
          <p15:clr>
            <a:srgbClr val="A4A3A4"/>
          </p15:clr>
        </p15:guide>
        <p15:guide id="5" orient="horz" pos="2296" userDrawn="1">
          <p15:clr>
            <a:srgbClr val="A4A3A4"/>
          </p15:clr>
        </p15:guide>
        <p15:guide id="6" orient="horz" pos="4319">
          <p15:clr>
            <a:srgbClr val="A4A3A4"/>
          </p15:clr>
        </p15:guide>
        <p15:guide id="7" pos="4929" userDrawn="1">
          <p15:clr>
            <a:srgbClr val="A4A3A4"/>
          </p15:clr>
        </p15:guide>
        <p15:guide id="8" pos="64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duction User" initials="PU" lastIdx="2" clrIdx="0"/>
  <p:cmAuthor id="2" name="Davide Lubian" initials="DL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CC"/>
    <a:srgbClr val="7A9FC0"/>
    <a:srgbClr val="CCECFF"/>
    <a:srgbClr val="CCFF99"/>
    <a:srgbClr val="FFCC99"/>
    <a:srgbClr val="003399"/>
    <a:srgbClr val="3399FF"/>
    <a:srgbClr val="5D7D15"/>
    <a:srgbClr val="CFA833"/>
    <a:srgbClr val="8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81" autoAdjust="0"/>
    <p:restoredTop sz="94660"/>
  </p:normalViewPr>
  <p:slideViewPr>
    <p:cSldViewPr>
      <p:cViewPr varScale="1">
        <p:scale>
          <a:sx n="84" d="100"/>
          <a:sy n="84" d="100"/>
        </p:scale>
        <p:origin x="758" y="77"/>
      </p:cViewPr>
      <p:guideLst>
        <p:guide orient="horz" pos="1026"/>
        <p:guide orient="horz" pos="4088"/>
        <p:guide pos="2593"/>
        <p:guide pos="211"/>
        <p:guide orient="horz" pos="2296"/>
        <p:guide orient="horz" pos="4319"/>
        <p:guide pos="4929"/>
        <p:guide pos="64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-2820" y="-114"/>
      </p:cViewPr>
      <p:guideLst>
        <p:guide orient="horz" pos="3110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ea typeface="+mn-ea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07ED531-2183-EB4F-8A58-3A39B1895A16}" type="datetimeFigureOut">
              <a:rPr lang="it-IT"/>
              <a:pPr/>
              <a:t>17/11/2023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1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ea typeface="+mn-ea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24E6A13-6614-2A4F-BAFC-C11D862D874A}" type="slidenum">
              <a:rPr lang="it-IT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213240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4EECE6-1561-4062-BF17-DA6C60D3BE01}" type="datetimeFigureOut">
              <a:rPr lang="it-IT" smtClean="0"/>
              <a:t>17/11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1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AA6F0E-7138-4C28-822E-7F99F7A1358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0719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71933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</p:spTree>
    <p:extLst>
      <p:ext uri="{BB962C8B-B14F-4D97-AF65-F5344CB8AC3E}">
        <p14:creationId xmlns:p14="http://schemas.microsoft.com/office/powerpoint/2010/main" val="193325568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 dirty="0"/>
              <a:t>COPERTINA </a:t>
            </a:r>
          </a:p>
        </p:txBody>
      </p: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44162" y="2027528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t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 dirty="0"/>
              <a:t>Sottotitolo </a:t>
            </a:r>
          </a:p>
        </p:txBody>
      </p:sp>
      <p:sp>
        <p:nvSpPr>
          <p:cNvPr id="8" name="Rettangolo 7"/>
          <p:cNvSpPr/>
          <p:nvPr userDrawn="1"/>
        </p:nvSpPr>
        <p:spPr>
          <a:xfrm>
            <a:off x="0" y="5071950"/>
            <a:ext cx="11719111" cy="1786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0" name="Picture 2" descr="CSA Research">
            <a:extLst>
              <a:ext uri="{FF2B5EF4-FFF2-40B4-BE49-F238E27FC236}">
                <a16:creationId xmlns:a16="http://schemas.microsoft.com/office/drawing/2014/main" id="{9C2DEB47-815B-0C4E-9B46-8692C1FB25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4836" y="5805488"/>
            <a:ext cx="2175139" cy="728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3325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71933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</p:spTree>
    <p:extLst>
      <p:ext uri="{BB962C8B-B14F-4D97-AF65-F5344CB8AC3E}">
        <p14:creationId xmlns:p14="http://schemas.microsoft.com/office/powerpoint/2010/main" val="63521437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71933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</p:spTree>
    <p:extLst>
      <p:ext uri="{BB962C8B-B14F-4D97-AF65-F5344CB8AC3E}">
        <p14:creationId xmlns:p14="http://schemas.microsoft.com/office/powerpoint/2010/main" val="314922180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2.vml"/><Relationship Id="rId7" Type="http://schemas.openxmlformats.org/officeDocument/2006/relationships/image" Target="../media/image4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Relationship Id="rId9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3.vml"/><Relationship Id="rId7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4.vml"/><Relationship Id="rId7" Type="http://schemas.openxmlformats.org/officeDocument/2006/relationships/image" Target="../media/image2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60832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" name="Diapositiva think-cell" r:id="rId5" imgW="425" imgH="424" progId="TCLayout.ActiveDocument.1">
                  <p:embed/>
                </p:oleObj>
              </mc:Choice>
              <mc:Fallback>
                <p:oleObj name="Diapositiva think-cell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 dirty="0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pic>
        <p:nvPicPr>
          <p:cNvPr id="19" name="Picture 2" descr="CSA Research">
            <a:extLst>
              <a:ext uri="{FF2B5EF4-FFF2-40B4-BE49-F238E27FC236}">
                <a16:creationId xmlns:a16="http://schemas.microsoft.com/office/drawing/2014/main" id="{9C2DEB47-815B-0C4E-9B46-8692C1FB25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7557" y="6309059"/>
            <a:ext cx="1115746" cy="373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Immagine 20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9356" y="6084885"/>
            <a:ext cx="1044968" cy="602573"/>
          </a:xfrm>
          <a:prstGeom prst="rect">
            <a:avLst/>
          </a:prstGeom>
        </p:spPr>
      </p:pic>
      <p:sp>
        <p:nvSpPr>
          <p:cNvPr id="18" name="Rettangolo 17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817474" y="242827"/>
            <a:ext cx="346160" cy="234428"/>
            <a:chOff x="-560" y="-1287"/>
            <a:chExt cx="6379" cy="4320"/>
          </a:xfrm>
        </p:grpSpPr>
        <p:sp>
          <p:nvSpPr>
            <p:cNvPr id="2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8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48628" y="66483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53468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9732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7" name="Diapositiva think-cell" r:id="rId5" imgW="425" imgH="424" progId="TCLayout.ActiveDocument.1">
                  <p:embed/>
                </p:oleObj>
              </mc:Choice>
              <mc:Fallback>
                <p:oleObj name="Diapositiva think-cell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Immagine 1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28282" y="4032501"/>
            <a:ext cx="11908093" cy="2120669"/>
          </a:xfrm>
          <a:prstGeom prst="rect">
            <a:avLst/>
          </a:prstGeom>
        </p:spPr>
      </p:pic>
      <p:sp>
        <p:nvSpPr>
          <p:cNvPr id="19" name="Rettangolo 18"/>
          <p:cNvSpPr/>
          <p:nvPr userDrawn="1"/>
        </p:nvSpPr>
        <p:spPr>
          <a:xfrm>
            <a:off x="0" y="5071950"/>
            <a:ext cx="12191999" cy="1786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0" name="Picture 2" descr="CSA Research">
            <a:extLst>
              <a:ext uri="{FF2B5EF4-FFF2-40B4-BE49-F238E27FC236}">
                <a16:creationId xmlns:a16="http://schemas.microsoft.com/office/drawing/2014/main" id="{9C2DEB47-815B-0C4E-9B46-8692C1FB25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4836" y="5805488"/>
            <a:ext cx="2175139" cy="728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Immagine 20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-27384"/>
            <a:ext cx="12191999" cy="5099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332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16" name="Diapositiva think-cell" r:id="rId5" imgW="425" imgH="424" progId="TCLayout.ActiveDocument.1">
                  <p:embed/>
                </p:oleObj>
              </mc:Choice>
              <mc:Fallback>
                <p:oleObj name="Diapositiva think-cell" r:id="rId5" imgW="425" imgH="424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9D7DBFB-DCE9-42BC-A361-A0671D12ADFC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pic>
        <p:nvPicPr>
          <p:cNvPr id="19" name="Picture 2" descr="CSA Research">
            <a:extLst>
              <a:ext uri="{FF2B5EF4-FFF2-40B4-BE49-F238E27FC236}">
                <a16:creationId xmlns:a16="http://schemas.microsoft.com/office/drawing/2014/main" id="{9C2DEB47-815B-0C4E-9B46-8692C1FB25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7557" y="6309059"/>
            <a:ext cx="1115746" cy="373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Immagine 20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9356" y="6084885"/>
            <a:ext cx="1044968" cy="602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485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74" name="Diapositiva think-cell" r:id="rId5" imgW="425" imgH="424" progId="TCLayout.ActiveDocument.1">
                  <p:embed/>
                </p:oleObj>
              </mc:Choice>
              <mc:Fallback>
                <p:oleObj name="Diapositiva think-cell" r:id="rId5" imgW="425" imgH="424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9D7DBFB-DCE9-42BC-A361-A0671D12ADFC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pic>
        <p:nvPicPr>
          <p:cNvPr id="19" name="Picture 2" descr="CSA Research">
            <a:extLst>
              <a:ext uri="{FF2B5EF4-FFF2-40B4-BE49-F238E27FC236}">
                <a16:creationId xmlns:a16="http://schemas.microsoft.com/office/drawing/2014/main" id="{9C2DEB47-815B-0C4E-9B46-8692C1FB25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7557" y="6309059"/>
            <a:ext cx="1115746" cy="373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Immagine 20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9356" y="6084885"/>
            <a:ext cx="1044968" cy="602573"/>
          </a:xfrm>
          <a:prstGeom prst="rect">
            <a:avLst/>
          </a:prstGeom>
        </p:spPr>
      </p:pic>
      <p:sp>
        <p:nvSpPr>
          <p:cNvPr id="18" name="Rettangolo 17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817474" y="242827"/>
            <a:ext cx="346160" cy="234428"/>
            <a:chOff x="-560" y="-1287"/>
            <a:chExt cx="6379" cy="4320"/>
          </a:xfrm>
        </p:grpSpPr>
        <p:sp>
          <p:nvSpPr>
            <p:cNvPr id="2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2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endParaRPr>
            </a:p>
          </p:txBody>
        </p:sp>
      </p:grpSp>
      <p:sp>
        <p:nvSpPr>
          <p:cNvPr id="28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48628" y="66483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9D7DBFB-DCE9-42BC-A361-A0671D12ADFC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853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18" name="Diapositiva think-cell" r:id="rId4" imgW="425" imgH="424" progId="TCLayout.ActiveDocument.1">
                  <p:embed/>
                </p:oleObj>
              </mc:Choice>
              <mc:Fallback>
                <p:oleObj name="Diapositiva think-cell" r:id="rId4" imgW="425" imgH="424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07368" y="1"/>
            <a:ext cx="11176620" cy="836712"/>
          </a:xfrm>
        </p:spPr>
        <p:txBody>
          <a:bodyPr vert="horz"/>
          <a:lstStyle/>
          <a:p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otta di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a: dettaglio per strada e veicolo guidato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7183028"/>
              </p:ext>
            </p:extLst>
          </p:nvPr>
        </p:nvGraphicFramePr>
        <p:xfrm>
          <a:off x="407368" y="1708322"/>
          <a:ext cx="11207074" cy="391668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324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6444">
                  <a:extLst>
                    <a:ext uri="{9D8B030D-6E8A-4147-A177-3AD203B41FA5}">
                      <a16:colId xmlns:a16="http://schemas.microsoft.com/office/drawing/2014/main" val="2266396697"/>
                    </a:ext>
                  </a:extLst>
                </a:gridCol>
                <a:gridCol w="7210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1063">
                  <a:extLst>
                    <a:ext uri="{9D8B030D-6E8A-4147-A177-3AD203B41FA5}">
                      <a16:colId xmlns:a16="http://schemas.microsoft.com/office/drawing/2014/main" val="1354352187"/>
                    </a:ext>
                  </a:extLst>
                </a:gridCol>
                <a:gridCol w="721063">
                  <a:extLst>
                    <a:ext uri="{9D8B030D-6E8A-4147-A177-3AD203B41FA5}">
                      <a16:colId xmlns:a16="http://schemas.microsoft.com/office/drawing/2014/main" val="2497944479"/>
                    </a:ext>
                  </a:extLst>
                </a:gridCol>
                <a:gridCol w="721063">
                  <a:extLst>
                    <a:ext uri="{9D8B030D-6E8A-4147-A177-3AD203B41FA5}">
                      <a16:colId xmlns:a16="http://schemas.microsoft.com/office/drawing/2014/main" val="2314895625"/>
                    </a:ext>
                  </a:extLst>
                </a:gridCol>
                <a:gridCol w="721063">
                  <a:extLst>
                    <a:ext uri="{9D8B030D-6E8A-4147-A177-3AD203B41FA5}">
                      <a16:colId xmlns:a16="http://schemas.microsoft.com/office/drawing/2014/main" val="3926281018"/>
                    </a:ext>
                  </a:extLst>
                </a:gridCol>
                <a:gridCol w="721063">
                  <a:extLst>
                    <a:ext uri="{9D8B030D-6E8A-4147-A177-3AD203B41FA5}">
                      <a16:colId xmlns:a16="http://schemas.microsoft.com/office/drawing/2014/main" val="3588575010"/>
                    </a:ext>
                  </a:extLst>
                </a:gridCol>
                <a:gridCol w="7210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106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106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210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68858">
                <a:tc>
                  <a:txBody>
                    <a:bodyPr/>
                    <a:lstStyle/>
                    <a:p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Valori</a:t>
                      </a:r>
                      <a:r>
                        <a:rPr lang="it-IT" sz="1200" b="0" baseline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2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lang="it-IT" sz="11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10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ccordo autostradale Torin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2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tostrada del Mediterrane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51 di Alemag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6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driatic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reli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3bis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iberin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City Car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Berli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SUV / </a:t>
                      </a:r>
                    </a:p>
                    <a:p>
                      <a:pPr algn="ctr" fontAlgn="ctr"/>
                      <a:r>
                        <a:rPr lang="it-IT" sz="105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Luxury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Veicolo Commerciale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o pesante</a:t>
                      </a:r>
                      <a:endParaRPr kumimoji="0" lang="it-IT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6260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Non utilizzano dispositivi luminosi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2.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7.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9.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3.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0.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7.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2.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2.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4.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8.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3.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6260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Non utilizzano gli indicatori di segnalazione </a:t>
                      </a:r>
                      <a:endParaRPr lang="it-IT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  <a:p>
                      <a:pPr marL="72000" algn="l" fontAlgn="ctr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mbio </a:t>
                      </a:r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rsia per manovra di sorpass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50.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0.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50.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53.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52.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36.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80.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44.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64.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47.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48.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3823741"/>
                  </a:ext>
                </a:extLst>
              </a:tr>
              <a:tr h="556260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Non utilizzano gli indicatori di segnalazione </a:t>
                      </a:r>
                      <a:endParaRPr lang="it-IT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  <a:p>
                      <a:pPr marL="72000" algn="l" fontAlgn="ctr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mbio </a:t>
                      </a:r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rsia per manovra di rientr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50.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0.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49.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53.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52.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36.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79.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44.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64.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47.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48.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7572455"/>
                  </a:ext>
                </a:extLst>
              </a:tr>
              <a:tr h="556260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Non rispettano il divieto di sorpasso in caso </a:t>
                      </a:r>
                      <a:endParaRPr lang="it-IT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  <a:p>
                      <a:pPr marL="72000" algn="l" fontAlgn="ctr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di </a:t>
                      </a:r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segnaletica orizzontale a linea continu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5.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.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5.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44.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6.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1.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31.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9.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5.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8.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8.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992722"/>
                  </a:ext>
                </a:extLst>
              </a:tr>
              <a:tr h="556260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Non utilizzano gli indicatori di segnalazione </a:t>
                      </a:r>
                      <a:endParaRPr lang="it-IT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  <a:p>
                      <a:pPr marL="72000" algn="l" fontAlgn="ctr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mbio </a:t>
                      </a:r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rsia per manovra di entrata da ramp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32.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33.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48.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3.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7.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8.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34.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1.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40.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48.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32.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847687"/>
                  </a:ext>
                </a:extLst>
              </a:tr>
              <a:tr h="556260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Non utilizzano gli indicatori di segnalazione </a:t>
                      </a:r>
                      <a:endParaRPr lang="it-IT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  <a:p>
                      <a:pPr marL="72000" algn="l" fontAlgn="ctr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mbio </a:t>
                      </a:r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rsia per manovra di uscita da ramp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7.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9.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0.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5.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0.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8.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1.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5.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8.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3.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34.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0303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90" name="Diapositiva think-cell" r:id="rId4" imgW="425" imgH="424" progId="TCLayout.ActiveDocument.1">
                  <p:embed/>
                </p:oleObj>
              </mc:Choice>
              <mc:Fallback>
                <p:oleObj name="Diapositiva think-cell" r:id="rId4" imgW="425" imgH="424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o del conducente: la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curezza per strada e veicolo guidato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1790236"/>
              </p:ext>
            </p:extLst>
          </p:nvPr>
        </p:nvGraphicFramePr>
        <p:xfrm>
          <a:off x="811678" y="1755344"/>
          <a:ext cx="10367995" cy="134962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5950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1354352187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497944479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314895625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3926281018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3588575010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1609234521"/>
                    </a:ext>
                  </a:extLst>
                </a:gridCol>
              </a:tblGrid>
              <a:tr h="701620">
                <a:tc>
                  <a:txBody>
                    <a:bodyPr/>
                    <a:lstStyle/>
                    <a:p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Valori</a:t>
                      </a:r>
                      <a:r>
                        <a:rPr lang="it-IT" sz="1200" b="0" baseline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2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lang="it-IT" sz="11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10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ccordo autostradale Torin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2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tostrada del Mediterrane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51 di Alemag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6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driatic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reli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3bis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iberin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City Car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Berli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SUV / </a:t>
                      </a:r>
                    </a:p>
                    <a:p>
                      <a:pPr algn="ctr" fontAlgn="ctr"/>
                      <a:r>
                        <a:rPr lang="it-IT" sz="105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Luxury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50" b="0" i="0" u="none" strike="noStrike" kern="1200" noProof="0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Veicolo Commerciale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50" b="0" i="0" u="none" strike="noStrike" kern="1200" noProof="0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o pesante</a:t>
                      </a:r>
                      <a:endParaRPr lang="it-IT" sz="1050" b="0" i="0" u="none" strike="noStrike" kern="1200" noProof="0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36000" algn="l" fontAlgn="b"/>
                      <a:r>
                        <a:rPr lang="it-IT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sì</a:t>
                      </a:r>
                      <a:endParaRPr lang="it-IT" sz="13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9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9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3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5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1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6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9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1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36000" algn="l" fontAlgn="b"/>
                      <a:r>
                        <a:rPr lang="it-IT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no</a:t>
                      </a:r>
                      <a:endParaRPr lang="it-IT" sz="13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9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98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97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99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7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8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94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88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93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90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89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1" name="Tabel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7911794"/>
              </p:ext>
            </p:extLst>
          </p:nvPr>
        </p:nvGraphicFramePr>
        <p:xfrm>
          <a:off x="811677" y="4239620"/>
          <a:ext cx="10367995" cy="134962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5950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1354352187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497944479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314895625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3926281018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3588575010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1609234521"/>
                    </a:ext>
                  </a:extLst>
                </a:gridCol>
              </a:tblGrid>
              <a:tr h="701620">
                <a:tc>
                  <a:txBody>
                    <a:bodyPr/>
                    <a:lstStyle/>
                    <a:p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Valori</a:t>
                      </a:r>
                      <a:r>
                        <a:rPr lang="it-IT" sz="1200" b="0" baseline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2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lang="it-IT" sz="11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10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ccordo autostradale Torin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2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tostrada del Mediterrane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51 di Alemag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6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driatic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reli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3bis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iberin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City Car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Berli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SUV / </a:t>
                      </a:r>
                    </a:p>
                    <a:p>
                      <a:pPr algn="ctr" fontAlgn="ctr"/>
                      <a:r>
                        <a:rPr lang="it-IT" sz="105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Luxury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Veicolo Commerciale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o pesante</a:t>
                      </a:r>
                      <a:endParaRPr kumimoji="0" lang="it-IT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36000" algn="l" fontAlgn="b"/>
                      <a:r>
                        <a:rPr lang="it-IT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sì</a:t>
                      </a:r>
                      <a:endParaRPr lang="it-IT" sz="13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9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4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4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8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9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6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6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36000" algn="l" fontAlgn="b"/>
                      <a:r>
                        <a:rPr lang="it-IT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no</a:t>
                      </a:r>
                      <a:endParaRPr lang="it-IT" sz="13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0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5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1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3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3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8" name="Titolo 1"/>
          <p:cNvSpPr txBox="1">
            <a:spLocks/>
          </p:cNvSpPr>
          <p:nvPr/>
        </p:nvSpPr>
        <p:spPr bwMode="auto">
          <a:xfrm>
            <a:off x="811677" y="1189688"/>
            <a:ext cx="4320480" cy="550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rPr>
              <a:t>Utilizzo IMPROPRIO </a:t>
            </a: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rPr>
              <a:t>cellulare</a:t>
            </a:r>
          </a:p>
        </p:txBody>
      </p:sp>
      <p:sp>
        <p:nvSpPr>
          <p:cNvPr id="9" name="Titolo 1"/>
          <p:cNvSpPr txBox="1">
            <a:spLocks/>
          </p:cNvSpPr>
          <p:nvPr/>
        </p:nvSpPr>
        <p:spPr bwMode="auto">
          <a:xfrm>
            <a:off x="811677" y="3601213"/>
            <a:ext cx="3966154" cy="550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rPr>
              <a:t>Utilizzo </a:t>
            </a: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rPr>
              <a:t>cintura di sicurezza</a:t>
            </a:r>
          </a:p>
        </p:txBody>
      </p:sp>
      <p:pic>
        <p:nvPicPr>
          <p:cNvPr id="10" name="Picture 8" descr="Visualizza immagine di origine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52"/>
          <a:stretch/>
        </p:blipFill>
        <p:spPr bwMode="auto">
          <a:xfrm>
            <a:off x="4007768" y="1107920"/>
            <a:ext cx="432048" cy="563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magin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39305" y="3435040"/>
            <a:ext cx="801022" cy="716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179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olo 1"/>
          <p:cNvSpPr txBox="1">
            <a:spLocks/>
          </p:cNvSpPr>
          <p:nvPr/>
        </p:nvSpPr>
        <p:spPr bwMode="auto">
          <a:xfrm>
            <a:off x="822007" y="1190670"/>
            <a:ext cx="3966154" cy="550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rPr>
              <a:t>Utilizzo </a:t>
            </a: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rPr>
              <a:t>cintura di sicurezza</a:t>
            </a:r>
          </a:p>
        </p:txBody>
      </p:sp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793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79" name="Diapositiva think-cell" r:id="rId4" imgW="425" imgH="424" progId="TCLayout.ActiveDocument.1">
                  <p:embed/>
                </p:oleObj>
              </mc:Choice>
              <mc:Fallback>
                <p:oleObj name="Diapositiva think-cell" r:id="rId4" imgW="425" imgH="424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9579723"/>
              </p:ext>
            </p:extLst>
          </p:nvPr>
        </p:nvGraphicFramePr>
        <p:xfrm>
          <a:off x="811678" y="1827352"/>
          <a:ext cx="10367995" cy="134962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5950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1354352187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497944479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314895625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3926281018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3588575010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1609234521"/>
                    </a:ext>
                  </a:extLst>
                </a:gridCol>
              </a:tblGrid>
              <a:tr h="701620">
                <a:tc>
                  <a:txBody>
                    <a:bodyPr/>
                    <a:lstStyle/>
                    <a:p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Valori</a:t>
                      </a:r>
                      <a:r>
                        <a:rPr lang="it-IT" sz="1200" b="0" baseline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2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lang="it-IT" sz="11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10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ccordo autostradale Torin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2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tostrada del Mediterrane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51 di Alemag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6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driatic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reli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3bis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iberin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City Car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Berli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SUV / </a:t>
                      </a:r>
                    </a:p>
                    <a:p>
                      <a:pPr algn="ctr" fontAlgn="ctr"/>
                      <a:r>
                        <a:rPr lang="it-IT" sz="105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Luxury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Veicolo Commerciale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o pesante</a:t>
                      </a:r>
                      <a:endParaRPr kumimoji="0" lang="it-IT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36000" algn="l" fontAlgn="b"/>
                      <a:r>
                        <a:rPr lang="it-I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sì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5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9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36000" algn="l" fontAlgn="b"/>
                      <a:r>
                        <a:rPr lang="it-I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no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4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.0</a:t>
                      </a:r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0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1" name="Tabel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7063918"/>
              </p:ext>
            </p:extLst>
          </p:nvPr>
        </p:nvGraphicFramePr>
        <p:xfrm>
          <a:off x="811677" y="4239620"/>
          <a:ext cx="10367995" cy="134962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5950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1354352187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497944479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314895625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3926281018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3588575010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1609234521"/>
                    </a:ext>
                  </a:extLst>
                </a:gridCol>
              </a:tblGrid>
              <a:tr h="701620">
                <a:tc>
                  <a:txBody>
                    <a:bodyPr/>
                    <a:lstStyle/>
                    <a:p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Valori</a:t>
                      </a:r>
                      <a:r>
                        <a:rPr lang="it-IT" sz="1200" b="0" baseline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2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lang="it-IT" sz="11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10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ccordo autostradale Torin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2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tostrada del Mediterrane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51 di Alemag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6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driatic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reli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3bis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iberin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City Car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Berli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SUV / </a:t>
                      </a:r>
                    </a:p>
                    <a:p>
                      <a:pPr algn="ctr" fontAlgn="ctr"/>
                      <a:r>
                        <a:rPr lang="it-IT" sz="105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Luxury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Veicolo Commerciale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o pesante</a:t>
                      </a:r>
                      <a:endParaRPr kumimoji="0" lang="it-IT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36000" algn="l" fontAlgn="b"/>
                      <a:r>
                        <a:rPr lang="it-I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sì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4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00.0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/</a:t>
                      </a:r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/</a:t>
                      </a:r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5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57.1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0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71.4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57.1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/</a:t>
                      </a:r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36000" algn="l" fontAlgn="b"/>
                      <a:r>
                        <a:rPr lang="it-I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no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5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0.0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/</a:t>
                      </a:r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/</a:t>
                      </a:r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5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42.9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28.6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10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42.9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/</a:t>
                      </a:r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2" name="Titolo 1"/>
          <p:cNvSpPr txBox="1">
            <a:spLocks/>
          </p:cNvSpPr>
          <p:nvPr/>
        </p:nvSpPr>
        <p:spPr bwMode="auto">
          <a:xfrm>
            <a:off x="831260" y="3619883"/>
            <a:ext cx="5092340" cy="550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rPr>
              <a:t>Utilizzo dispositivo ritenuta bambini</a:t>
            </a:r>
            <a:r>
              <a:rPr lang="it-IT" sz="1800" b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rPr>
              <a:t>*</a:t>
            </a:r>
            <a:endParaRPr lang="it-IT" sz="1800" b="0" dirty="0">
              <a:solidFill>
                <a:schemeClr val="tx1">
                  <a:lumMod val="75000"/>
                  <a:lumOff val="25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5" name="Rettangolo 4"/>
          <p:cNvSpPr/>
          <p:nvPr/>
        </p:nvSpPr>
        <p:spPr>
          <a:xfrm>
            <a:off x="795583" y="5664389"/>
            <a:ext cx="157729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4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*Esiguità numerica</a:t>
            </a:r>
            <a:endParaRPr lang="it-IT" sz="14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itolo 1"/>
          <p:cNvSpPr txBox="1">
            <a:spLocks/>
          </p:cNvSpPr>
          <p:nvPr/>
        </p:nvSpPr>
        <p:spPr bwMode="auto">
          <a:xfrm>
            <a:off x="515380" y="-72403"/>
            <a:ext cx="11176620" cy="764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passeggero anteriore: comportamenti di sicurezza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Immagine 13"/>
          <p:cNvPicPr>
            <a:picLocks noChangeAspect="1"/>
          </p:cNvPicPr>
          <p:nvPr/>
        </p:nvPicPr>
        <p:blipFill rotWithShape="1">
          <a:blip r:embed="rId6"/>
          <a:srcRect r="7707" b="9761"/>
          <a:stretch/>
        </p:blipFill>
        <p:spPr>
          <a:xfrm>
            <a:off x="4877082" y="3428999"/>
            <a:ext cx="839728" cy="648073"/>
          </a:xfrm>
          <a:prstGeom prst="rect">
            <a:avLst/>
          </a:prstGeom>
        </p:spPr>
      </p:pic>
      <p:pic>
        <p:nvPicPr>
          <p:cNvPr id="17" name="Picture 8" descr="Visualizza immagine di origine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52"/>
          <a:stretch/>
        </p:blipFill>
        <p:spPr bwMode="auto">
          <a:xfrm>
            <a:off x="4007768" y="1107920"/>
            <a:ext cx="432048" cy="563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5431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olo 1"/>
          <p:cNvSpPr txBox="1">
            <a:spLocks/>
          </p:cNvSpPr>
          <p:nvPr/>
        </p:nvSpPr>
        <p:spPr bwMode="auto">
          <a:xfrm>
            <a:off x="822007" y="1118662"/>
            <a:ext cx="3966154" cy="550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rPr>
              <a:t>Utilizzo </a:t>
            </a: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rPr>
              <a:t>cintura di sicurezza</a:t>
            </a:r>
          </a:p>
        </p:txBody>
      </p:sp>
      <p:sp>
        <p:nvSpPr>
          <p:cNvPr id="12" name="Titolo 1"/>
          <p:cNvSpPr txBox="1">
            <a:spLocks/>
          </p:cNvSpPr>
          <p:nvPr/>
        </p:nvSpPr>
        <p:spPr bwMode="auto">
          <a:xfrm>
            <a:off x="831260" y="3619883"/>
            <a:ext cx="5092340" cy="550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rPr>
              <a:t>Utilizzo dispositivo ritenuta bambini</a:t>
            </a:r>
            <a:r>
              <a:rPr lang="it-IT" sz="1800" b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rPr>
              <a:t>*</a:t>
            </a:r>
            <a:endParaRPr lang="it-IT" sz="1800" b="0" dirty="0">
              <a:solidFill>
                <a:schemeClr val="tx1">
                  <a:lumMod val="75000"/>
                  <a:lumOff val="25000"/>
                </a:schemeClr>
              </a:solidFill>
              <a:latin typeface="Gill Sans MT" panose="020B0502020104020203" pitchFamily="34" charset="0"/>
            </a:endParaRPr>
          </a:p>
        </p:txBody>
      </p:sp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889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46" name="Diapositiva think-cell" r:id="rId4" imgW="425" imgH="424" progId="TCLayout.ActiveDocument.1">
                  <p:embed/>
                </p:oleObj>
              </mc:Choice>
              <mc:Fallback>
                <p:oleObj name="Diapositiva think-cell" r:id="rId4" imgW="425" imgH="424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60421"/>
              </p:ext>
            </p:extLst>
          </p:nvPr>
        </p:nvGraphicFramePr>
        <p:xfrm>
          <a:off x="811678" y="1755344"/>
          <a:ext cx="10367995" cy="134962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5950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1354352187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497944479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314895625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3926281018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3588575010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1609234521"/>
                    </a:ext>
                  </a:extLst>
                </a:gridCol>
              </a:tblGrid>
              <a:tr h="701620">
                <a:tc>
                  <a:txBody>
                    <a:bodyPr/>
                    <a:lstStyle/>
                    <a:p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Valori</a:t>
                      </a:r>
                      <a:r>
                        <a:rPr lang="it-IT" sz="1200" b="0" baseline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2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lang="it-IT" sz="11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10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ccordo autostradale Torin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2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tostrada del Mediterrane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51 di Alemag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6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driatic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reli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3bis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iberin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City Car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Berli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SUV / </a:t>
                      </a:r>
                    </a:p>
                    <a:p>
                      <a:pPr algn="ctr" fontAlgn="ctr"/>
                      <a:r>
                        <a:rPr lang="it-IT" sz="105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Luxury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Veicolo Commerciale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o pesante</a:t>
                      </a:r>
                      <a:endParaRPr kumimoji="0" lang="it-IT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36000" algn="l" fontAlgn="b"/>
                      <a:r>
                        <a:rPr lang="it-I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sì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8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9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8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8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6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3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4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7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/</a:t>
                      </a:r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36000" algn="l" fontAlgn="b"/>
                      <a:r>
                        <a:rPr lang="it-I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no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3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6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5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/</a:t>
                      </a:r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1" name="Tabel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6382432"/>
              </p:ext>
            </p:extLst>
          </p:nvPr>
        </p:nvGraphicFramePr>
        <p:xfrm>
          <a:off x="811677" y="4239620"/>
          <a:ext cx="10367995" cy="134962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5950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1354352187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497944479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314895625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3926281018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3588575010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1609234521"/>
                    </a:ext>
                  </a:extLst>
                </a:gridCol>
              </a:tblGrid>
              <a:tr h="701620">
                <a:tc>
                  <a:txBody>
                    <a:bodyPr/>
                    <a:lstStyle/>
                    <a:p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Valori</a:t>
                      </a:r>
                      <a:r>
                        <a:rPr lang="it-IT" sz="1200" b="0" baseline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2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lang="it-IT" sz="11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10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ccordo autostradale Torin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2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tostrada del Mediterrane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51 di Alemag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6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driatic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reli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3bis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iberin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City Car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Berli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SUV / </a:t>
                      </a:r>
                    </a:p>
                    <a:p>
                      <a:pPr algn="ctr" fontAlgn="ctr"/>
                      <a:r>
                        <a:rPr lang="it-IT" sz="105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Luxury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Veicolo Commerciale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o pesante</a:t>
                      </a:r>
                      <a:endParaRPr kumimoji="0" lang="it-IT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36000" algn="l" fontAlgn="b"/>
                      <a:r>
                        <a:rPr lang="it-I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sì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0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2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5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0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5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9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8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/</a:t>
                      </a:r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36000" algn="l" fontAlgn="b"/>
                      <a:r>
                        <a:rPr lang="it-I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no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6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7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4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0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5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/</a:t>
                      </a:r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Rettangolo 4"/>
          <p:cNvSpPr/>
          <p:nvPr/>
        </p:nvSpPr>
        <p:spPr>
          <a:xfrm>
            <a:off x="795583" y="5664389"/>
            <a:ext cx="157729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4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*Esiguità numerica</a:t>
            </a:r>
            <a:endParaRPr lang="it-IT" sz="14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itolo 1"/>
          <p:cNvSpPr txBox="1">
            <a:spLocks/>
          </p:cNvSpPr>
          <p:nvPr/>
        </p:nvSpPr>
        <p:spPr bwMode="auto">
          <a:xfrm>
            <a:off x="515380" y="-72403"/>
            <a:ext cx="11176620" cy="764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passeggero posteriore: comportamenti di sicurezza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magine 14"/>
          <p:cNvPicPr>
            <a:picLocks noChangeAspect="1"/>
          </p:cNvPicPr>
          <p:nvPr/>
        </p:nvPicPr>
        <p:blipFill rotWithShape="1">
          <a:blip r:embed="rId6"/>
          <a:srcRect r="7707" b="9761"/>
          <a:stretch/>
        </p:blipFill>
        <p:spPr>
          <a:xfrm>
            <a:off x="4877082" y="3428999"/>
            <a:ext cx="839728" cy="648073"/>
          </a:xfrm>
          <a:prstGeom prst="rect">
            <a:avLst/>
          </a:prstGeom>
        </p:spPr>
      </p:pic>
      <p:pic>
        <p:nvPicPr>
          <p:cNvPr id="16" name="Picture 8" descr="Visualizza immagine di origine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52"/>
          <a:stretch/>
        </p:blipFill>
        <p:spPr bwMode="auto">
          <a:xfrm>
            <a:off x="4041776" y="1032727"/>
            <a:ext cx="432048" cy="563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1588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olo 1"/>
          <p:cNvSpPr txBox="1">
            <a:spLocks/>
          </p:cNvSpPr>
          <p:nvPr/>
        </p:nvSpPr>
        <p:spPr bwMode="auto">
          <a:xfrm>
            <a:off x="822007" y="1118662"/>
            <a:ext cx="3966154" cy="550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rPr>
              <a:t>Utilizzo </a:t>
            </a:r>
            <a:r>
              <a:rPr lang="it-IT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rPr>
              <a:t>cintura di sicurezza</a:t>
            </a:r>
          </a:p>
        </p:txBody>
      </p:sp>
      <p:sp>
        <p:nvSpPr>
          <p:cNvPr id="12" name="Titolo 1"/>
          <p:cNvSpPr txBox="1">
            <a:spLocks/>
          </p:cNvSpPr>
          <p:nvPr/>
        </p:nvSpPr>
        <p:spPr bwMode="auto">
          <a:xfrm>
            <a:off x="831260" y="3619883"/>
            <a:ext cx="5092340" cy="550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1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rPr>
              <a:t>Utilizzo dispositivo ritenuta bambini</a:t>
            </a:r>
            <a:r>
              <a:rPr lang="it-IT" sz="1800" b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rPr>
              <a:t>*</a:t>
            </a:r>
            <a:endParaRPr lang="it-IT" sz="1800" b="0" dirty="0">
              <a:solidFill>
                <a:schemeClr val="tx1">
                  <a:lumMod val="75000"/>
                  <a:lumOff val="25000"/>
                </a:schemeClr>
              </a:solidFill>
              <a:latin typeface="Gill Sans MT" panose="020B0502020104020203" pitchFamily="34" charset="0"/>
            </a:endParaRPr>
          </a:p>
        </p:txBody>
      </p:sp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889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20" name="Diapositiva think-cell" r:id="rId4" imgW="425" imgH="424" progId="TCLayout.ActiveDocument.1">
                  <p:embed/>
                </p:oleObj>
              </mc:Choice>
              <mc:Fallback>
                <p:oleObj name="Diapositiva think-cell" r:id="rId4" imgW="425" imgH="424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60421"/>
              </p:ext>
            </p:extLst>
          </p:nvPr>
        </p:nvGraphicFramePr>
        <p:xfrm>
          <a:off x="811678" y="1755344"/>
          <a:ext cx="10367995" cy="134962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5950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1354352187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497944479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314895625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3926281018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3588575010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1609234521"/>
                    </a:ext>
                  </a:extLst>
                </a:gridCol>
              </a:tblGrid>
              <a:tr h="701620">
                <a:tc>
                  <a:txBody>
                    <a:bodyPr/>
                    <a:lstStyle/>
                    <a:p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Valori</a:t>
                      </a:r>
                      <a:r>
                        <a:rPr lang="it-IT" sz="1200" b="0" baseline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2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lang="it-IT" sz="11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10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ccordo autostradale Torin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2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tostrada del Mediterrane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51 di Alemag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6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driatic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reli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3bis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iberin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City Car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Berli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SUV / </a:t>
                      </a:r>
                    </a:p>
                    <a:p>
                      <a:pPr algn="ctr" fontAlgn="ctr"/>
                      <a:r>
                        <a:rPr lang="it-IT" sz="105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Luxury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Veicolo Commerciale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o pesante</a:t>
                      </a:r>
                      <a:endParaRPr kumimoji="0" lang="it-IT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36000" algn="l" fontAlgn="b"/>
                      <a:r>
                        <a:rPr lang="it-I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sì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8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9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8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8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6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3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4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7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/</a:t>
                      </a:r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36000" algn="l" fontAlgn="b"/>
                      <a:r>
                        <a:rPr lang="it-I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no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2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0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1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3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6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5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2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7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/</a:t>
                      </a:r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1" name="Tabel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6382432"/>
              </p:ext>
            </p:extLst>
          </p:nvPr>
        </p:nvGraphicFramePr>
        <p:xfrm>
          <a:off x="811677" y="4239620"/>
          <a:ext cx="10367995" cy="134962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15950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1354352187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497944479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314895625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3926281018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3588575010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97538">
                  <a:extLst>
                    <a:ext uri="{9D8B030D-6E8A-4147-A177-3AD203B41FA5}">
                      <a16:colId xmlns:a16="http://schemas.microsoft.com/office/drawing/2014/main" val="1609234521"/>
                    </a:ext>
                  </a:extLst>
                </a:gridCol>
              </a:tblGrid>
              <a:tr h="701620">
                <a:tc>
                  <a:txBody>
                    <a:bodyPr/>
                    <a:lstStyle/>
                    <a:p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Valori</a:t>
                      </a:r>
                      <a:r>
                        <a:rPr lang="it-IT" sz="1200" b="0" baseline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2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2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dirty="0" smtClean="0"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lang="it-IT" sz="1100" b="0" dirty="0"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10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raccordo autostradale Torin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2</a:t>
                      </a:r>
                      <a:r>
                        <a:rPr lang="it-IT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90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9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tostrada del Mediterraneo</a:t>
                      </a:r>
                      <a:endParaRPr lang="it-IT" sz="90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51 di Alemag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6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driatic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1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Aureli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SS3bis </a:t>
                      </a:r>
                      <a:endParaRPr lang="it-IT" sz="1050" b="0" i="0" u="none" strike="noStrike" dirty="0" smtClean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Tiberina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City Car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Berlin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 SUV / </a:t>
                      </a:r>
                    </a:p>
                    <a:p>
                      <a:pPr algn="ctr" fontAlgn="ctr"/>
                      <a:r>
                        <a:rPr lang="it-IT" sz="105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Gill Sans MT" panose="020B0502020104020203" pitchFamily="34" charset="0"/>
                          <a:cs typeface="Arial" panose="020B0604020202020204" pitchFamily="34" charset="0"/>
                        </a:rPr>
                        <a:t>Luxury</a:t>
                      </a:r>
                      <a:endParaRPr lang="it-IT" sz="1050" b="0" i="0" u="none" strike="noStrike" dirty="0">
                        <a:solidFill>
                          <a:schemeClr val="bg1"/>
                        </a:solidFill>
                        <a:effectLst/>
                        <a:latin typeface="Gill Sans MT" panose="020B0502020104020203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Veicolo Commerciale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o pesante</a:t>
                      </a:r>
                      <a:endParaRPr kumimoji="0" lang="it-IT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36000" algn="l" fontAlgn="b"/>
                      <a:r>
                        <a:rPr lang="it-I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sì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0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2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5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0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5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9.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8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/</a:t>
                      </a:r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36000" algn="l" fontAlgn="b"/>
                      <a:r>
                        <a:rPr lang="it-I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</a:rPr>
                        <a:t>no</a:t>
                      </a:r>
                      <a:endParaRPr lang="it-IT" sz="12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6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7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4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0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0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5.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0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/</a:t>
                      </a:r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Rettangolo 4"/>
          <p:cNvSpPr/>
          <p:nvPr/>
        </p:nvSpPr>
        <p:spPr>
          <a:xfrm>
            <a:off x="795583" y="5664389"/>
            <a:ext cx="157729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4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*Esiguità numerica</a:t>
            </a:r>
            <a:endParaRPr lang="it-IT" sz="14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itolo 1"/>
          <p:cNvSpPr txBox="1">
            <a:spLocks/>
          </p:cNvSpPr>
          <p:nvPr/>
        </p:nvSpPr>
        <p:spPr bwMode="auto">
          <a:xfrm>
            <a:off x="515380" y="-72403"/>
            <a:ext cx="11176620" cy="764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passeggero posteriore: comportamenti di sicurezza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magine 14"/>
          <p:cNvPicPr>
            <a:picLocks noChangeAspect="1"/>
          </p:cNvPicPr>
          <p:nvPr/>
        </p:nvPicPr>
        <p:blipFill rotWithShape="1">
          <a:blip r:embed="rId6"/>
          <a:srcRect r="7707" b="9761"/>
          <a:stretch/>
        </p:blipFill>
        <p:spPr>
          <a:xfrm>
            <a:off x="4877082" y="3428999"/>
            <a:ext cx="839728" cy="648073"/>
          </a:xfrm>
          <a:prstGeom prst="rect">
            <a:avLst/>
          </a:prstGeom>
        </p:spPr>
      </p:pic>
      <p:pic>
        <p:nvPicPr>
          <p:cNvPr id="16" name="Picture 8" descr="Visualizza immagine di origine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52"/>
          <a:stretch/>
        </p:blipFill>
        <p:spPr bwMode="auto">
          <a:xfrm>
            <a:off x="4041776" y="1032727"/>
            <a:ext cx="432048" cy="563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763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889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4" name="Diapositiva think-cell" r:id="rId4" imgW="425" imgH="424" progId="TCLayout.ActiveDocument.1">
                  <p:embed/>
                </p:oleObj>
              </mc:Choice>
              <mc:Fallback>
                <p:oleObj name="Diapositiva think-cell" r:id="rId4" imgW="425" imgH="424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olo 1"/>
          <p:cNvSpPr txBox="1">
            <a:spLocks/>
          </p:cNvSpPr>
          <p:nvPr/>
        </p:nvSpPr>
        <p:spPr bwMode="auto">
          <a:xfrm>
            <a:off x="551384" y="-207404"/>
            <a:ext cx="11176620" cy="764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comportamenti (indagine CAWI) - SE STESSI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730655"/>
              </p:ext>
            </p:extLst>
          </p:nvPr>
        </p:nvGraphicFramePr>
        <p:xfrm>
          <a:off x="767408" y="656692"/>
          <a:ext cx="9953821" cy="55760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35206">
                  <a:extLst>
                    <a:ext uri="{9D8B030D-6E8A-4147-A177-3AD203B41FA5}">
                      <a16:colId xmlns:a16="http://schemas.microsoft.com/office/drawing/2014/main" val="1485655422"/>
                    </a:ext>
                  </a:extLst>
                </a:gridCol>
                <a:gridCol w="1057043">
                  <a:extLst>
                    <a:ext uri="{9D8B030D-6E8A-4147-A177-3AD203B41FA5}">
                      <a16:colId xmlns:a16="http://schemas.microsoft.com/office/drawing/2014/main" val="2725404002"/>
                    </a:ext>
                  </a:extLst>
                </a:gridCol>
                <a:gridCol w="1101087">
                  <a:extLst>
                    <a:ext uri="{9D8B030D-6E8A-4147-A177-3AD203B41FA5}">
                      <a16:colId xmlns:a16="http://schemas.microsoft.com/office/drawing/2014/main" val="1927723062"/>
                    </a:ext>
                  </a:extLst>
                </a:gridCol>
                <a:gridCol w="1112097">
                  <a:extLst>
                    <a:ext uri="{9D8B030D-6E8A-4147-A177-3AD203B41FA5}">
                      <a16:colId xmlns:a16="http://schemas.microsoft.com/office/drawing/2014/main" val="1240355862"/>
                    </a:ext>
                  </a:extLst>
                </a:gridCol>
                <a:gridCol w="1112097">
                  <a:extLst>
                    <a:ext uri="{9D8B030D-6E8A-4147-A177-3AD203B41FA5}">
                      <a16:colId xmlns:a16="http://schemas.microsoft.com/office/drawing/2014/main" val="339750316"/>
                    </a:ext>
                  </a:extLst>
                </a:gridCol>
                <a:gridCol w="1112097">
                  <a:extLst>
                    <a:ext uri="{9D8B030D-6E8A-4147-A177-3AD203B41FA5}">
                      <a16:colId xmlns:a16="http://schemas.microsoft.com/office/drawing/2014/main" val="1790181731"/>
                    </a:ext>
                  </a:extLst>
                </a:gridCol>
                <a:gridCol w="1112097">
                  <a:extLst>
                    <a:ext uri="{9D8B030D-6E8A-4147-A177-3AD203B41FA5}">
                      <a16:colId xmlns:a16="http://schemas.microsoft.com/office/drawing/2014/main" val="3772757595"/>
                    </a:ext>
                  </a:extLst>
                </a:gridCol>
                <a:gridCol w="1112097">
                  <a:extLst>
                    <a:ext uri="{9D8B030D-6E8A-4147-A177-3AD203B41FA5}">
                      <a16:colId xmlns:a16="http://schemas.microsoft.com/office/drawing/2014/main" val="3472059479"/>
                    </a:ext>
                  </a:extLst>
                </a:gridCol>
              </a:tblGrid>
              <a:tr h="157555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1" kern="1200" dirty="0" smtClean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Regione di residenza</a:t>
                      </a:r>
                      <a:endParaRPr lang="it-IT" sz="1800" b="1" kern="1200" dirty="0">
                        <a:solidFill>
                          <a:schemeClr val="lt1"/>
                        </a:solidFill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057" marR="6057" marT="6057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[Rispetto sempre i limiti di velocità anche in assenza di tutor o autovelox]  </a:t>
                      </a:r>
                    </a:p>
                  </a:txBody>
                  <a:tcPr marL="6057" marR="6057" marT="6057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[Non utilizzo il telefono mentre sono alla guida di un veicolo, anche se sono fermo al semaforo]  </a:t>
                      </a:r>
                    </a:p>
                  </a:txBody>
                  <a:tcPr marL="6057" marR="6057" marT="6057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[Mi accerto che tutti abbiamo la cintura di sicurezza prima di partire sia anteriori che posteriori]  </a:t>
                      </a:r>
                    </a:p>
                  </a:txBody>
                  <a:tcPr marL="6057" marR="6057" marT="6057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[Utilizzo sempre il casco alla guida di motoveicoli (motociclette, scooter, ciclomotori, </a:t>
                      </a:r>
                    </a:p>
                  </a:txBody>
                  <a:tcPr marL="6057" marR="6057" marT="6057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[Non mi metto mai alla guida dopo aver bevuto alcolici o altre sostanze] </a:t>
                      </a:r>
                    </a:p>
                  </a:txBody>
                  <a:tcPr marL="6057" marR="6057" marT="6057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[Utilizzo sempre l’indicatore di direzione (freccia) in caso di cambio di corsia  di marcia] </a:t>
                      </a:r>
                    </a:p>
                  </a:txBody>
                  <a:tcPr marL="6057" marR="6057" marT="6057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[Effettuo un cambio di corsia di marcia solo quando la striscia che divide le corsie è tratteggiata ] </a:t>
                      </a:r>
                    </a:p>
                  </a:txBody>
                  <a:tcPr marL="6057" marR="6057" marT="6057" marB="0" anchor="ctr">
                    <a:solidFill>
                      <a:srgbClr val="0033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9961556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Valle d'Aosta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2,1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3,3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7,3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1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8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1,7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2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8179110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Piemonte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8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4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9,4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5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5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4,9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751312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iguria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1,3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1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4,4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7,8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1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9,2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9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8129902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ombardia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8,8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9,8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4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2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7,2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7,4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5525046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Emilia Romagna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4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7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6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2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8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2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5522621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Veneto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1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6,7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3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4,2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5295050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Friuli Venezia Giulia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9,4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8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8,1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6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6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3024023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Toscana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2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9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4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5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4,7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4,7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468459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Umbria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2,8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7,3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9,7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3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4,6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6,7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8469724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arche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3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0,7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9,8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4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7,6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6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8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3403874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azio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9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9,5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3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8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6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0384811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Abruzzo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9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,6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9,1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4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8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6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7949715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olise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7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4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8,3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0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8529092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mpania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2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8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6,7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4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1,3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8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0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2608783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Puglia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8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7,5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7,3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1,5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7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7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0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4510805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Basilicata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8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7,5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3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8,1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4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7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2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6811463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labria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9,3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1,2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4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8,8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6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9,2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9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5044807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Sicilia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3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6,8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7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1,4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4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5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4,8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396924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Sardegna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1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8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1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1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7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8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7589531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Trentino Alto Adige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1,7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4,8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1,1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7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4,3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9636060"/>
                  </a:ext>
                </a:extLst>
              </a:tr>
              <a:tr h="16917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6057" marR="6057" marT="6057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7,9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9,7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7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4,0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2</a:t>
                      </a:r>
                    </a:p>
                  </a:txBody>
                  <a:tcPr marL="7620" marR="7620" marT="762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4,7</a:t>
                      </a:r>
                    </a:p>
                  </a:txBody>
                  <a:tcPr marL="7620" marR="7620" marT="762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03893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671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889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8" name="Diapositiva think-cell" r:id="rId4" imgW="425" imgH="424" progId="TCLayout.ActiveDocument.1">
                  <p:embed/>
                </p:oleObj>
              </mc:Choice>
              <mc:Fallback>
                <p:oleObj name="Diapositiva think-cell" r:id="rId4" imgW="425" imgH="424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olo 1"/>
          <p:cNvSpPr txBox="1">
            <a:spLocks/>
          </p:cNvSpPr>
          <p:nvPr/>
        </p:nvSpPr>
        <p:spPr bwMode="auto">
          <a:xfrm>
            <a:off x="515380" y="-72403"/>
            <a:ext cx="11176620" cy="764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comportamenti (indagine CAWI) - GLI ALTRI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6823811"/>
              </p:ext>
            </p:extLst>
          </p:nvPr>
        </p:nvGraphicFramePr>
        <p:xfrm>
          <a:off x="335360" y="872716"/>
          <a:ext cx="11017225" cy="53625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57688">
                  <a:extLst>
                    <a:ext uri="{9D8B030D-6E8A-4147-A177-3AD203B41FA5}">
                      <a16:colId xmlns:a16="http://schemas.microsoft.com/office/drawing/2014/main" val="4045108786"/>
                    </a:ext>
                  </a:extLst>
                </a:gridCol>
                <a:gridCol w="1222791">
                  <a:extLst>
                    <a:ext uri="{9D8B030D-6E8A-4147-A177-3AD203B41FA5}">
                      <a16:colId xmlns:a16="http://schemas.microsoft.com/office/drawing/2014/main" val="1321325777"/>
                    </a:ext>
                  </a:extLst>
                </a:gridCol>
                <a:gridCol w="1222791">
                  <a:extLst>
                    <a:ext uri="{9D8B030D-6E8A-4147-A177-3AD203B41FA5}">
                      <a16:colId xmlns:a16="http://schemas.microsoft.com/office/drawing/2014/main" val="1086592405"/>
                    </a:ext>
                  </a:extLst>
                </a:gridCol>
                <a:gridCol w="1222791">
                  <a:extLst>
                    <a:ext uri="{9D8B030D-6E8A-4147-A177-3AD203B41FA5}">
                      <a16:colId xmlns:a16="http://schemas.microsoft.com/office/drawing/2014/main" val="2754911956"/>
                    </a:ext>
                  </a:extLst>
                </a:gridCol>
                <a:gridCol w="1222791">
                  <a:extLst>
                    <a:ext uri="{9D8B030D-6E8A-4147-A177-3AD203B41FA5}">
                      <a16:colId xmlns:a16="http://schemas.microsoft.com/office/drawing/2014/main" val="552553135"/>
                    </a:ext>
                  </a:extLst>
                </a:gridCol>
                <a:gridCol w="1222791">
                  <a:extLst>
                    <a:ext uri="{9D8B030D-6E8A-4147-A177-3AD203B41FA5}">
                      <a16:colId xmlns:a16="http://schemas.microsoft.com/office/drawing/2014/main" val="4274587111"/>
                    </a:ext>
                  </a:extLst>
                </a:gridCol>
                <a:gridCol w="1222791">
                  <a:extLst>
                    <a:ext uri="{9D8B030D-6E8A-4147-A177-3AD203B41FA5}">
                      <a16:colId xmlns:a16="http://schemas.microsoft.com/office/drawing/2014/main" val="2079737796"/>
                    </a:ext>
                  </a:extLst>
                </a:gridCol>
                <a:gridCol w="1222791">
                  <a:extLst>
                    <a:ext uri="{9D8B030D-6E8A-4147-A177-3AD203B41FA5}">
                      <a16:colId xmlns:a16="http://schemas.microsoft.com/office/drawing/2014/main" val="3413586285"/>
                    </a:ext>
                  </a:extLst>
                </a:gridCol>
              </a:tblGrid>
              <a:tr h="128782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Regione di residenza</a:t>
                      </a:r>
                    </a:p>
                  </a:txBody>
                  <a:tcPr marL="6328" marR="6328" marT="6328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[Gli altri guidatori rispettano sempre i limiti di velocità anche in assenza di tutor o autovelox]  </a:t>
                      </a:r>
                    </a:p>
                  </a:txBody>
                  <a:tcPr marL="6328" marR="6328" marT="6328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[Gli altri guidatori in genere non utilizzano il telefono mentre sono alla guida di un veicolo (anche quando sono fermi al semaforo)] </a:t>
                      </a:r>
                    </a:p>
                  </a:txBody>
                  <a:tcPr marL="6328" marR="6328" marT="6328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[All’interno degli altri veicoli in genere tutti i passeggeri,  sia nei sedili anteriori che posteriori, indossano la cintura di sicurezza ]  </a:t>
                      </a:r>
                    </a:p>
                  </a:txBody>
                  <a:tcPr marL="6328" marR="6328" marT="6328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[I guidatori di motoveicoli indossano sempre il casco alla guida (motociclette, scooter, ciclomotori, …)] </a:t>
                      </a:r>
                    </a:p>
                  </a:txBody>
                  <a:tcPr marL="6328" marR="6328" marT="6328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[In genere gli altri guidatori non si mettono alla guida dopo aver bevuto alcolici o altre sostanze]  </a:t>
                      </a:r>
                    </a:p>
                  </a:txBody>
                  <a:tcPr marL="6328" marR="6328" marT="6328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[Gli altri guidatori utilizzano sempre l’indicatore di direzione (freccia) in caso di cambio di corsia  di marcia]  </a:t>
                      </a:r>
                    </a:p>
                  </a:txBody>
                  <a:tcPr marL="6328" marR="6328" marT="6328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[Gli altri guidatori effettuano cambi di corsia di marcia solo quando la striscia che divide le corsie è tratteggiata </a:t>
                      </a:r>
                    </a:p>
                  </a:txBody>
                  <a:tcPr marL="6328" marR="6328" marT="6328" marB="0" anchor="ctr">
                    <a:solidFill>
                      <a:srgbClr val="0033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5934813"/>
                  </a:ext>
                </a:extLst>
              </a:tr>
              <a:tr h="125032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Valle d'Aosta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3,0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4,6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3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4,2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4,5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6,7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8,2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7670400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Piemonte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9,1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7,9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7,2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4,4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6,2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3,3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6,2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5109215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iguria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4,5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0,6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3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0,3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1,7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8,4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7,1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8379596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ombardia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8,3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5,6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5,7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6,1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2,7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6,3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0,8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051339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Emilia Romagna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9,3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6,4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9,5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,3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4,7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0,7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2,0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850652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Veneto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9,4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3,9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9,6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5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1,9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7,3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0679132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Friuli Venezia Giulia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6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6,4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9,4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0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0,1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9,2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0,4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179360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Toscana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1,3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9,7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1,7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6,4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9,1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9,3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4,1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7591472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Umbria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4,7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4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0,6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2,6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3,4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7,0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3684230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arche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8,1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6,5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6,6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2,3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9,9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7,7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5,3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3274102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azio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0,4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2,2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3,6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3,1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8,2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7,7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8,5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8336656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Abruzzo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2,1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3,1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0,6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2,1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6,6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7,9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9,1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734607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olise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9,0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6,2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3,5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1,4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3,1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8,6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9,0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8008183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mpania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3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7,3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0,5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8,7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0,1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6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4,2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5131150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Puglia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5,1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2,9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5,9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3,9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1,0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7,2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4,3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379399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Basilicata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3,9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7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3,2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0,0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8,3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3,4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1,2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163448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labria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7,0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7,0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7,5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4,5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7,3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2,2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5,4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2331109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Sicilia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3,1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3,9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2,5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2,7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0,6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4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0,6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2257468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Sardegna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1,4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5,3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2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5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4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6,6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7,0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5407298"/>
                  </a:ext>
                </a:extLst>
              </a:tr>
              <a:tr h="290560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Trentino Alto Adige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6,7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9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5,9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2,9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8,3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6,8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8,0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0178807"/>
                  </a:ext>
                </a:extLst>
              </a:tr>
              <a:tr h="151884">
                <a:tc>
                  <a:txBody>
                    <a:bodyPr/>
                    <a:lstStyle/>
                    <a:p>
                      <a:pPr marL="36000" algn="l" defTabSz="914400" rtl="0" eaLnBrk="1" fontAlgn="b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0,3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9,6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2,6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0,2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9,6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1,3</a:t>
                      </a:r>
                    </a:p>
                  </a:txBody>
                  <a:tcPr marL="6328" marR="6328" marT="6328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9,7</a:t>
                      </a:r>
                    </a:p>
                  </a:txBody>
                  <a:tcPr marL="6328" marR="6328" marT="632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07407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604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889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1" name="Diapositiva think-cell" r:id="rId4" imgW="425" imgH="424" progId="TCLayout.ActiveDocument.1">
                  <p:embed/>
                </p:oleObj>
              </mc:Choice>
              <mc:Fallback>
                <p:oleObj name="Diapositiva think-cell" r:id="rId4" imgW="425" imgH="424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olo 1"/>
          <p:cNvSpPr txBox="1">
            <a:spLocks/>
          </p:cNvSpPr>
          <p:nvPr/>
        </p:nvSpPr>
        <p:spPr bwMode="auto">
          <a:xfrm>
            <a:off x="515380" y="-72403"/>
            <a:ext cx="11176620" cy="764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dispositivi – Supporti alla sicurezza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el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6890480"/>
              </p:ext>
            </p:extLst>
          </p:nvPr>
        </p:nvGraphicFramePr>
        <p:xfrm>
          <a:off x="1703512" y="764704"/>
          <a:ext cx="8640960" cy="53176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13677">
                  <a:extLst>
                    <a:ext uri="{9D8B030D-6E8A-4147-A177-3AD203B41FA5}">
                      <a16:colId xmlns:a16="http://schemas.microsoft.com/office/drawing/2014/main" val="682825445"/>
                    </a:ext>
                  </a:extLst>
                </a:gridCol>
                <a:gridCol w="1291318">
                  <a:extLst>
                    <a:ext uri="{9D8B030D-6E8A-4147-A177-3AD203B41FA5}">
                      <a16:colId xmlns:a16="http://schemas.microsoft.com/office/drawing/2014/main" val="2795789411"/>
                    </a:ext>
                  </a:extLst>
                </a:gridCol>
                <a:gridCol w="1689573">
                  <a:extLst>
                    <a:ext uri="{9D8B030D-6E8A-4147-A177-3AD203B41FA5}">
                      <a16:colId xmlns:a16="http://schemas.microsoft.com/office/drawing/2014/main" val="2274801173"/>
                    </a:ext>
                  </a:extLst>
                </a:gridCol>
                <a:gridCol w="1967144">
                  <a:extLst>
                    <a:ext uri="{9D8B030D-6E8A-4147-A177-3AD203B41FA5}">
                      <a16:colId xmlns:a16="http://schemas.microsoft.com/office/drawing/2014/main" val="94827099"/>
                    </a:ext>
                  </a:extLst>
                </a:gridCol>
                <a:gridCol w="1279248">
                  <a:extLst>
                    <a:ext uri="{9D8B030D-6E8A-4147-A177-3AD203B41FA5}">
                      <a16:colId xmlns:a16="http://schemas.microsoft.com/office/drawing/2014/main" val="331672636"/>
                    </a:ext>
                  </a:extLst>
                </a:gridCol>
              </a:tblGrid>
              <a:tr h="10963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1" kern="1200" dirty="0" smtClean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Regione di residenza</a:t>
                      </a:r>
                      <a:endParaRPr lang="it-IT" sz="1800" b="1" kern="1200" dirty="0">
                        <a:solidFill>
                          <a:schemeClr val="lt1"/>
                        </a:solidFill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171" marR="6171" marT="6171" marB="0" anchor="ctr">
                    <a:solidFill>
                      <a:srgbClr val="0033C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A lei è mai capitato di registrare dei video con il cellulare mentre era alla guida di un veicolo?</a:t>
                      </a:r>
                    </a:p>
                  </a:txBody>
                  <a:tcPr marL="6171" marR="6171" marT="6171" marB="0" anchor="ctr">
                    <a:solidFill>
                      <a:srgbClr val="0033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E le è mai capitato, in situazioni in cui era un passeggero del veicolo, che il guidatore abbia registrato un video con il cellulare?</a:t>
                      </a:r>
                    </a:p>
                  </a:txBody>
                  <a:tcPr marL="6171" marR="6171" marT="6171" marB="0" anchor="ctr">
                    <a:solidFill>
                      <a:srgbClr val="0033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5576942"/>
                  </a:ext>
                </a:extLst>
              </a:tr>
              <a:tr h="251235">
                <a:tc>
                  <a:txBody>
                    <a:bodyPr/>
                    <a:lstStyle/>
                    <a:p>
                      <a:pPr algn="l" fontAlgn="ctr"/>
                      <a:endParaRPr lang="it-IT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1" marR="6171" marT="6171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ì</a:t>
                      </a:r>
                      <a:endParaRPr lang="it-IT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1" marR="6171" marT="6171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o</a:t>
                      </a:r>
                      <a:endParaRPr lang="it-IT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1" marR="6171" marT="6171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ì</a:t>
                      </a:r>
                      <a:endParaRPr lang="it-IT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1" marR="6171" marT="6171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o</a:t>
                      </a:r>
                      <a:endParaRPr lang="it-IT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71" marR="6171" marT="6171" marB="0" anchor="ctr">
                    <a:solidFill>
                      <a:srgbClr val="0033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868658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Valle d'Aosta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0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7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118222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Piemonte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,3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7,7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,9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1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2181366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iguria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,8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2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,3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4,7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1275167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ombardia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,5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7,5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1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5474788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Emilia Romagna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,2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8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,1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9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299602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Veneto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,4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7,6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,1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9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5402078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Friuli Venezia Giulia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7,8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,7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3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2703365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Toscana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8,1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,4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6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6183075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Umbria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5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3,6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6,4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6867920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arche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,3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7,7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0,7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9,3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579570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azio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7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8212928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Abruzzo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,3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4,7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,9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1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1641323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olise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7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4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3953473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mpania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,6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4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,3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7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1789157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Puglia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1,5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8,5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6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0427369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Basilicata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,6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4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,7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2,3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846416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labria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5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,5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5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5272277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Sicilia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7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5,7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4,3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7808268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Sardegna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2,3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7,7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1,0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5275571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Trentino Alto Adige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4,3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5,7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,7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3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6707377"/>
                  </a:ext>
                </a:extLst>
              </a:tr>
              <a:tr h="182716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3,1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6,9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6,9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3,1</a:t>
                      </a:r>
                    </a:p>
                  </a:txBody>
                  <a:tcPr marL="6171" marR="6171" marT="6171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18414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5650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6889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3" name="Diapositiva think-cell" r:id="rId4" imgW="425" imgH="424" progId="TCLayout.ActiveDocument.1">
                  <p:embed/>
                </p:oleObj>
              </mc:Choice>
              <mc:Fallback>
                <p:oleObj name="Diapositiva think-cell" r:id="rId4" imgW="425" imgH="424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olo 1"/>
          <p:cNvSpPr txBox="1">
            <a:spLocks/>
          </p:cNvSpPr>
          <p:nvPr/>
        </p:nvSpPr>
        <p:spPr bwMode="auto">
          <a:xfrm>
            <a:off x="515380" y="-72403"/>
            <a:ext cx="11176620" cy="764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dispositivi – Video a bordo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8739397"/>
              </p:ext>
            </p:extLst>
          </p:nvPr>
        </p:nvGraphicFramePr>
        <p:xfrm>
          <a:off x="1811524" y="908709"/>
          <a:ext cx="8100901" cy="518579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93023">
                  <a:extLst>
                    <a:ext uri="{9D8B030D-6E8A-4147-A177-3AD203B41FA5}">
                      <a16:colId xmlns:a16="http://schemas.microsoft.com/office/drawing/2014/main" val="2010445156"/>
                    </a:ext>
                  </a:extLst>
                </a:gridCol>
                <a:gridCol w="2108912">
                  <a:extLst>
                    <a:ext uri="{9D8B030D-6E8A-4147-A177-3AD203B41FA5}">
                      <a16:colId xmlns:a16="http://schemas.microsoft.com/office/drawing/2014/main" val="237620929"/>
                    </a:ext>
                  </a:extLst>
                </a:gridCol>
                <a:gridCol w="1874589">
                  <a:extLst>
                    <a:ext uri="{9D8B030D-6E8A-4147-A177-3AD203B41FA5}">
                      <a16:colId xmlns:a16="http://schemas.microsoft.com/office/drawing/2014/main" val="810645732"/>
                    </a:ext>
                  </a:extLst>
                </a:gridCol>
                <a:gridCol w="1824377">
                  <a:extLst>
                    <a:ext uri="{9D8B030D-6E8A-4147-A177-3AD203B41FA5}">
                      <a16:colId xmlns:a16="http://schemas.microsoft.com/office/drawing/2014/main" val="1482419540"/>
                    </a:ext>
                  </a:extLst>
                </a:gridCol>
              </a:tblGrid>
              <a:tr h="60064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1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Regione di residenza</a:t>
                      </a:r>
                    </a:p>
                  </a:txBody>
                  <a:tcPr marL="7490" marR="7490" marT="7490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[Obbligo di sistemi </a:t>
                      </a:r>
                      <a:r>
                        <a:rPr lang="it-IT" sz="1300" b="0" kern="1200" dirty="0" err="1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safe</a:t>
                      </a:r>
                      <a:r>
                        <a:rPr lang="it-IT" sz="13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-drive - Livello di </a:t>
                      </a:r>
                      <a:r>
                        <a:rPr lang="it-IT" sz="1300" b="0" kern="1200" dirty="0" smtClean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interesse %</a:t>
                      </a:r>
                      <a:endParaRPr lang="it-IT" sz="1300" b="0" kern="1200" dirty="0">
                        <a:solidFill>
                          <a:schemeClr val="lt1"/>
                        </a:solidFill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90" marR="7490" marT="7490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Limitazione automatica della velocità - Livello di </a:t>
                      </a:r>
                      <a:r>
                        <a:rPr lang="it-IT" sz="1300" b="0" kern="1200" dirty="0" smtClean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interesse %</a:t>
                      </a:r>
                      <a:endParaRPr lang="it-IT" sz="1300" b="0" kern="1200" dirty="0">
                        <a:solidFill>
                          <a:schemeClr val="lt1"/>
                        </a:solidFill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90" marR="7490" marT="7490" marB="0" anchor="ctr">
                    <a:solidFill>
                      <a:srgbClr val="0033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kern="1200" dirty="0" smtClean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Alcol </a:t>
                      </a:r>
                      <a:r>
                        <a:rPr lang="it-IT" sz="1300" b="0" kern="1200" dirty="0" err="1" smtClean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lock</a:t>
                      </a:r>
                      <a:r>
                        <a:rPr lang="it-IT" sz="1300" b="0" kern="1200" dirty="0" smtClean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kern="1200" dirty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- Livello di </a:t>
                      </a:r>
                      <a:r>
                        <a:rPr lang="it-IT" sz="1300" b="0" kern="1200" dirty="0" smtClean="0">
                          <a:solidFill>
                            <a:schemeClr val="lt1"/>
                          </a:solidFill>
                          <a:latin typeface="Gill Sans MT" panose="020B0502020104020203" pitchFamily="34" charset="0"/>
                          <a:ea typeface="+mn-ea"/>
                          <a:cs typeface="Arial" panose="020B0604020202020204" pitchFamily="34" charset="0"/>
                        </a:rPr>
                        <a:t>interesse %</a:t>
                      </a:r>
                      <a:endParaRPr lang="it-IT" sz="1300" b="0" kern="1200" dirty="0">
                        <a:solidFill>
                          <a:schemeClr val="lt1"/>
                        </a:solidFill>
                        <a:latin typeface="Gill Sans MT" panose="020B0502020104020203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90" marR="7490" marT="7490" marB="0" anchor="ctr">
                    <a:solidFill>
                      <a:srgbClr val="0033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3912391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Valle d'Aosta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7,6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6,6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6,6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8888748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Piemonte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,7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2,9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0,2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8373328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iguria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,5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,8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7,8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2779668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ombardia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5,5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5,2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5,2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1944541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Emilia Romagna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4,4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7,6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0,6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94234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Veneto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,5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0,4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9,2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5749400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Friuli Venezia Giulia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,9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4,1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,7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9824424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Toscana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2,0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3,9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2,4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3600618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Umbria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8,8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,8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1,2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0565199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arche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9,6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,3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4,2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4524561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Lazio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9,3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4,5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8,9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3820113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Abruzzo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2,5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9,6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0,9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9770566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Molise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2,2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6,4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8,2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7193227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mpania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0,8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9,0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7,5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3930893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Puglia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,7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2,1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9,8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363377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Basilicata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4,6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8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0,0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7895759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alabria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,9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4,2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7,2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5580310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Sicilia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2,0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9,6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,7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1470370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Sardegna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9,7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90,2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5,0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6024257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Trentino Alto Adige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0,9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74,3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3,7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8324691"/>
                  </a:ext>
                </a:extLst>
              </a:tr>
              <a:tr h="218283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7490" marR="7490" marT="7490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,8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3,6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it-IT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81,8</a:t>
                      </a:r>
                    </a:p>
                  </a:txBody>
                  <a:tcPr marL="7490" marR="7490" marT="749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42413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3152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over 1 - Proiezione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2</TotalTime>
  <Words>1627</Words>
  <Application>Microsoft Office PowerPoint</Application>
  <PresentationFormat>Widescreen</PresentationFormat>
  <Paragraphs>1012</Paragraphs>
  <Slides>9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4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9</vt:i4>
      </vt:variant>
    </vt:vector>
  </HeadingPairs>
  <TitlesOfParts>
    <vt:vector size="18" baseType="lpstr">
      <vt:lpstr>ＭＳ Ｐゴシック</vt:lpstr>
      <vt:lpstr>Arial</vt:lpstr>
      <vt:lpstr>Calibri</vt:lpstr>
      <vt:lpstr>Gill Sans MT</vt:lpstr>
      <vt:lpstr>Master Presentazione FSI</vt:lpstr>
      <vt:lpstr>1_Cover 1 - Proiezione</vt:lpstr>
      <vt:lpstr>1_Master Presentazione FSI</vt:lpstr>
      <vt:lpstr>2_Master Presentazione FSI</vt:lpstr>
      <vt:lpstr>Diapositiva think-cell</vt:lpstr>
      <vt:lpstr>Condotta di guida: dettaglio per strada e veicolo guidato</vt:lpstr>
      <vt:lpstr>Profilo del conducente: la sicurezza per strada e veicolo guidato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-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4845742</dc:creator>
  <cp:lastModifiedBy>Zucca, Anna Gabriella</cp:lastModifiedBy>
  <cp:revision>984</cp:revision>
  <cp:lastPrinted>2023-11-17T16:13:17Z</cp:lastPrinted>
  <dcterms:created xsi:type="dcterms:W3CDTF">2011-06-16T10:20:26Z</dcterms:created>
  <dcterms:modified xsi:type="dcterms:W3CDTF">2023-11-17T16:3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33541d5-4c43-48c9-9696-2967ab9bd00f_Enabled">
    <vt:lpwstr>True</vt:lpwstr>
  </property>
  <property fmtid="{D5CDD505-2E9C-101B-9397-08002B2CF9AE}" pid="3" name="MSIP_Label_133541d5-4c43-48c9-9696-2967ab9bd00f_SiteId">
    <vt:lpwstr>4c8a6547-459a-4b75-a3dc-f66efe3e9c4e</vt:lpwstr>
  </property>
  <property fmtid="{D5CDD505-2E9C-101B-9397-08002B2CF9AE}" pid="4" name="MSIP_Label_133541d5-4c43-48c9-9696-2967ab9bd00f_Owner">
    <vt:lpwstr>2874871@trenitalia.it</vt:lpwstr>
  </property>
  <property fmtid="{D5CDD505-2E9C-101B-9397-08002B2CF9AE}" pid="5" name="MSIP_Label_133541d5-4c43-48c9-9696-2967ab9bd00f_SetDate">
    <vt:lpwstr>2020-12-16T15:14:12.1521412Z</vt:lpwstr>
  </property>
  <property fmtid="{D5CDD505-2E9C-101B-9397-08002B2CF9AE}" pid="6" name="MSIP_Label_133541d5-4c43-48c9-9696-2967ab9bd00f_Name">
    <vt:lpwstr>Ad Uso Interno</vt:lpwstr>
  </property>
  <property fmtid="{D5CDD505-2E9C-101B-9397-08002B2CF9AE}" pid="7" name="MSIP_Label_133541d5-4c43-48c9-9696-2967ab9bd00f_Application">
    <vt:lpwstr>Microsoft Azure Information Protection</vt:lpwstr>
  </property>
  <property fmtid="{D5CDD505-2E9C-101B-9397-08002B2CF9AE}" pid="8" name="MSIP_Label_133541d5-4c43-48c9-9696-2967ab9bd00f_ActionId">
    <vt:lpwstr>1285c780-b771-4eda-93e1-657c466b272c</vt:lpwstr>
  </property>
  <property fmtid="{D5CDD505-2E9C-101B-9397-08002B2CF9AE}" pid="9" name="MSIP_Label_133541d5-4c43-48c9-9696-2967ab9bd00f_Extended_MSFT_Method">
    <vt:lpwstr>Manual</vt:lpwstr>
  </property>
  <property fmtid="{D5CDD505-2E9C-101B-9397-08002B2CF9AE}" pid="10" name="Sensitivity">
    <vt:lpwstr>Ad Uso Interno</vt:lpwstr>
  </property>
</Properties>
</file>